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3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14436116946914"/>
          <c:y val="0.188405196627702"/>
          <c:w val="0.85072986156362196"/>
          <c:h val="0.6131658555903997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5B-481C-B438-4EE808F0181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E5B-481C-B438-4EE808F0181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ext 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E5B-481C-B438-4EE808F018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806250752"/>
        <c:axId val="355357024"/>
      </c:barChart>
      <c:catAx>
        <c:axId val="806250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55357024"/>
        <c:crosses val="autoZero"/>
        <c:auto val="1"/>
        <c:lblAlgn val="ctr"/>
        <c:lblOffset val="100"/>
        <c:noMultiLvlLbl val="0"/>
      </c:catAx>
      <c:valAx>
        <c:axId val="355357024"/>
        <c:scaling>
          <c:orientation val="minMax"/>
          <c:max val="1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80625075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522026880260657"/>
          <c:y val="0.90011126666567454"/>
          <c:w val="0.81745218270130027"/>
          <c:h val="7.80818405246475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14436116946914"/>
          <c:y val="0.188405196627702"/>
          <c:w val="0.85072986156362196"/>
          <c:h val="0.6131658555903997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29-4382-829A-A29C92BEE8F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29-4382-829A-A29C92BEE8F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ext 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29-4382-829A-A29C92BEE8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806250752"/>
        <c:axId val="355357024"/>
      </c:barChart>
      <c:catAx>
        <c:axId val="806250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55357024"/>
        <c:crosses val="autoZero"/>
        <c:auto val="1"/>
        <c:lblAlgn val="ctr"/>
        <c:lblOffset val="100"/>
        <c:noMultiLvlLbl val="0"/>
      </c:catAx>
      <c:valAx>
        <c:axId val="355357024"/>
        <c:scaling>
          <c:orientation val="minMax"/>
          <c:max val="1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80625075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826368147947025"/>
          <c:y val="0.90011126666567454"/>
          <c:w val="0.71052225691616122"/>
          <c:h val="7.80818405246475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021392-ABBC-1E79-666E-D28A36B94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B0D2B9B-2D62-23D2-CA41-940E14A11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D2B9B-2D62-23D2-CA41-940E14A11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546AA6-9430-A6F5-1AE1-C6A441511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6F3452F-6631-4DED-623C-C4A3AC470B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Column</a:t>
            </a:r>
          </a:p>
        </p:txBody>
      </p:sp>
      <p:sp>
        <p:nvSpPr>
          <p:cNvPr id="4" name="Shape1_20210706_120450">
            <a:extLst>
              <a:ext uri="{FF2B5EF4-FFF2-40B4-BE49-F238E27FC236}">
                <a16:creationId xmlns:a16="http://schemas.microsoft.com/office/drawing/2014/main" id="{06F8EA98-9C63-F84D-67FA-243C2589A192}"/>
              </a:ext>
            </a:extLst>
          </p:cNvPr>
          <p:cNvSpPr/>
          <p:nvPr/>
        </p:nvSpPr>
        <p:spPr>
          <a:xfrm>
            <a:off x="6295187" y="1692395"/>
            <a:ext cx="5615077" cy="3881592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/>
          </a:p>
        </p:txBody>
      </p:sp>
      <p:graphicFrame>
        <p:nvGraphicFramePr>
          <p:cNvPr id="13" name="Shape2_20210706_120410">
            <a:extLst>
              <a:ext uri="{FF2B5EF4-FFF2-40B4-BE49-F238E27FC236}">
                <a16:creationId xmlns:a16="http://schemas.microsoft.com/office/drawing/2014/main" id="{ACB8ED0E-0187-4FFF-37DD-4C16B1B19144}"/>
              </a:ext>
            </a:extLst>
          </p:cNvPr>
          <p:cNvGraphicFramePr/>
          <p:nvPr/>
        </p:nvGraphicFramePr>
        <p:xfrm>
          <a:off x="633323" y="1870606"/>
          <a:ext cx="5615077" cy="4054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" name="Shape3_20210706_120410">
            <a:extLst>
              <a:ext uri="{FF2B5EF4-FFF2-40B4-BE49-F238E27FC236}">
                <a16:creationId xmlns:a16="http://schemas.microsoft.com/office/drawing/2014/main" id="{07E2AFEC-4FD5-95B7-EC1E-36ACD84C127E}"/>
              </a:ext>
            </a:extLst>
          </p:cNvPr>
          <p:cNvGraphicFramePr/>
          <p:nvPr/>
        </p:nvGraphicFramePr>
        <p:xfrm>
          <a:off x="6447587" y="1870606"/>
          <a:ext cx="5615077" cy="4054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Shape0_20210701_084234">
            <a:extLst>
              <a:ext uri="{FF2B5EF4-FFF2-40B4-BE49-F238E27FC236}">
                <a16:creationId xmlns:a16="http://schemas.microsoft.com/office/drawing/2014/main" id="{FF43C85B-E1AA-7565-0483-5EA9977635BC}"/>
              </a:ext>
            </a:extLst>
          </p:cNvPr>
          <p:cNvSpPr/>
          <p:nvPr/>
        </p:nvSpPr>
        <p:spPr>
          <a:xfrm>
            <a:off x="717630" y="1519337"/>
            <a:ext cx="5278056" cy="524326"/>
          </a:xfrm>
          <a:prstGeom prst="rect">
            <a:avLst/>
          </a:prstGeom>
          <a:solidFill>
            <a:schemeClr val="accent1"/>
          </a:solidFill>
          <a:ln w="317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023" tIns="91023" rIns="91023" bIns="91023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Insert Text Here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16" name="Shape0_20210701_084234">
            <a:extLst>
              <a:ext uri="{FF2B5EF4-FFF2-40B4-BE49-F238E27FC236}">
                <a16:creationId xmlns:a16="http://schemas.microsoft.com/office/drawing/2014/main" id="{EBA73E42-1701-829B-FEB8-AF5D5EE5129F}"/>
              </a:ext>
            </a:extLst>
          </p:cNvPr>
          <p:cNvSpPr/>
          <p:nvPr/>
        </p:nvSpPr>
        <p:spPr>
          <a:xfrm>
            <a:off x="6484406" y="1519337"/>
            <a:ext cx="5278056" cy="524326"/>
          </a:xfrm>
          <a:prstGeom prst="rect">
            <a:avLst/>
          </a:prstGeom>
          <a:solidFill>
            <a:schemeClr val="accent1"/>
          </a:solidFill>
          <a:ln w="317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023" tIns="91023" rIns="91023" bIns="91023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Insert Text Here</a:t>
            </a:r>
            <a:endParaRPr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5121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5</TotalTime>
  <Words>9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Stack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78</cp:revision>
  <dcterms:created xsi:type="dcterms:W3CDTF">2021-03-31T02:49:57Z</dcterms:created>
  <dcterms:modified xsi:type="dcterms:W3CDTF">2025-10-16T11:30:26Z</dcterms:modified>
  <cp:category/>
</cp:coreProperties>
</file>